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94" r:id="rId1"/>
  </p:sldMasterIdLst>
  <p:notesMasterIdLst>
    <p:notesMasterId r:id="rId3"/>
  </p:notesMasterIdLst>
  <p:sldIdLst>
    <p:sldId id="256" r:id="rId2"/>
  </p:sldIdLst>
  <p:sldSz cx="12192000" cy="6858000"/>
  <p:notesSz cx="6858000" cy="9144000"/>
  <p:custDataLst>
    <p:tags r:id="rId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FF"/>
    <a:srgbClr val="3366FF"/>
    <a:srgbClr val="0033CC"/>
    <a:srgbClr val="0000FF"/>
    <a:srgbClr val="5B9BD5"/>
    <a:srgbClr val="0051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09" autoAdjust="0"/>
    <p:restoredTop sz="94660" autoAdjust="0"/>
  </p:normalViewPr>
  <p:slideViewPr>
    <p:cSldViewPr snapToGrid="0">
      <p:cViewPr varScale="1">
        <p:scale>
          <a:sx n="115" d="100"/>
          <a:sy n="115" d="100"/>
        </p:scale>
        <p:origin x="74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A7E938-DBDE-42C8-ADF9-00D2D41ACBBB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8062AB-1F32-48C4-B6C7-6FC36BB60B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1323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062AB-1F32-48C4-B6C7-6FC36BB60BE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159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76433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5390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712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374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4446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5632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4912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5681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545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7869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8337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DA6DB-9FB9-479D-95E9-DEB0E4D2F910}" type="datetimeFigureOut">
              <a:rPr lang="ru-RU" smtClean="0"/>
              <a:t>04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79C6B-7E2D-4FBC-B5E6-52EF8B580CE3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78696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Слайд think-cell" r:id="rId15" imgW="353" imgH="318" progId="TCLayout.ActiveDocument.1">
                  <p:embed/>
                </p:oleObj>
              </mc:Choice>
              <mc:Fallback>
                <p:oleObj name="Слайд think-cell" r:id="rId15" imgW="353" imgH="318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56236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2.png"/><Relationship Id="rId17" Type="http://schemas.openxmlformats.org/officeDocument/2006/relationships/image" Target="../media/image7.png"/><Relationship Id="rId2" Type="http://schemas.openxmlformats.org/officeDocument/2006/relationships/tags" Target="../tags/tag3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1.emf"/><Relationship Id="rId5" Type="http://schemas.openxmlformats.org/officeDocument/2006/relationships/tags" Target="../tags/tag6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2.bin"/><Relationship Id="rId4" Type="http://schemas.openxmlformats.org/officeDocument/2006/relationships/tags" Target="../tags/tag5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146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Слайд think-cell" r:id="rId10" imgW="353" imgH="318" progId="TCLayout.ActiveDocument.1">
                  <p:embed/>
                </p:oleObj>
              </mc:Choice>
              <mc:Fallback>
                <p:oleObj name="Слайд think-cell" r:id="rId10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Рисунок 3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201" y="971496"/>
            <a:ext cx="2168525" cy="43243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76" y="971496"/>
            <a:ext cx="2168525" cy="432438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725" y="190989"/>
            <a:ext cx="2838450" cy="604279"/>
          </a:xfrm>
          <a:prstGeom prst="rect">
            <a:avLst/>
          </a:prstGeom>
        </p:spPr>
      </p:pic>
      <p:sp>
        <p:nvSpPr>
          <p:cNvPr id="15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6376" y="5472113"/>
            <a:ext cx="2168525" cy="1285875"/>
          </a:xfrm>
          <a:prstGeom prst="roundRect">
            <a:avLst>
              <a:gd name="adj" fmla="val 13951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49238" rIns="2066925" bIns="249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 smtClean="0">
                <a:latin typeface="Cera CY" panose="00000500000000000000" pitchFamily="2" charset="-52"/>
              </a:rPr>
              <a:t>1.</a:t>
            </a:r>
            <a:r>
              <a:rPr lang="en-US" sz="1000" dirty="0" smtClean="0">
                <a:latin typeface="Cera CY" panose="00000500000000000000" pitchFamily="2" charset="-52"/>
              </a:rPr>
              <a:t> </a:t>
            </a:r>
            <a:r>
              <a:rPr lang="ru-RU" sz="1000" dirty="0" smtClean="0">
                <a:latin typeface="Cera CY" panose="00000500000000000000" pitchFamily="2" charset="-52"/>
              </a:rPr>
              <a:t>В нижней части экрана </a:t>
            </a:r>
            <a:fld id="{9E79DAD8-A480-4083-B25C-0D122050A260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мобильного </a:t>
            </a:r>
            <a:r>
              <a:rPr lang="ru-RU" sz="1000" dirty="0" smtClean="0">
                <a:latin typeface="Cera CY" panose="00000500000000000000" pitchFamily="2" charset="-52"/>
              </a:rPr>
              <a:t>приложения </a:t>
            </a:r>
            <a:fld id="{B2D0EBA2-797B-4103-A890-0078A345F2C2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выберите раздел «Платежи».      </a:t>
            </a:r>
            <a:r>
              <a:rPr lang="ru-RU" altLang="en-US" sz="1000" dirty="0" smtClean="0">
                <a:latin typeface="Cera CY" panose="00000500000000000000" pitchFamily="2" charset="-52"/>
              </a:rPr>
              <a:t>   </a:t>
            </a:r>
            <a:fld id="{AD1873AF-07FF-40B0-87EA-AD6526722321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2</a:t>
            </a:r>
            <a:r>
              <a:rPr lang="ru-RU" sz="1000" dirty="0" smtClean="0">
                <a:latin typeface="Cera CY" panose="00000500000000000000" pitchFamily="2" charset="-52"/>
              </a:rPr>
              <a:t>. </a:t>
            </a:r>
            <a:r>
              <a:rPr lang="ru-RU" sz="1000" dirty="0" smtClean="0">
                <a:latin typeface="Cera CY" panose="00000500000000000000" pitchFamily="2" charset="-52"/>
              </a:rPr>
              <a:t>Перейдите </a:t>
            </a:r>
            <a:r>
              <a:rPr lang="ru-RU" sz="1000" dirty="0" smtClean="0">
                <a:latin typeface="Cera CY" panose="00000500000000000000" pitchFamily="2" charset="-52"/>
              </a:rPr>
              <a:t>в </a:t>
            </a:r>
            <a:r>
              <a:rPr lang="ru-RU" sz="1000" dirty="0" smtClean="0">
                <a:latin typeface="Cera CY" panose="00000500000000000000" pitchFamily="2" charset="-52"/>
              </a:rPr>
              <a:t>раздел «Счета </a:t>
            </a:r>
            <a:r>
              <a:rPr lang="ru-RU" sz="1000" dirty="0" smtClean="0">
                <a:latin typeface="Cera CY" panose="00000500000000000000" pitchFamily="2" charset="-52"/>
              </a:rPr>
              <a:t>на </a:t>
            </a:r>
            <a:fld id="{BD4A30B2-3DA2-4A11-BC91-F21268C6B2A1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оплату».</a:t>
            </a:r>
            <a:endParaRPr lang="ru-RU" sz="1000" dirty="0">
              <a:latin typeface="Cera CY" panose="00000500000000000000" pitchFamily="2" charset="-52"/>
            </a:endParaRPr>
          </a:p>
        </p:txBody>
      </p:sp>
      <p:sp>
        <p:nvSpPr>
          <p:cNvPr id="16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16201" y="5472113"/>
            <a:ext cx="2168525" cy="1285875"/>
          </a:xfrm>
          <a:prstGeom prst="roundRect">
            <a:avLst>
              <a:gd name="adj" fmla="val 13951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317500" rIns="2066925" bIns="31750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 smtClean="0">
                <a:latin typeface="Cera CY" panose="00000500000000000000" pitchFamily="2" charset="-52"/>
              </a:rPr>
              <a:t>3. В окне </a:t>
            </a:r>
            <a:r>
              <a:rPr lang="ru-RU" sz="1000" dirty="0" smtClean="0">
                <a:latin typeface="Cera CY" panose="00000500000000000000" pitchFamily="2" charset="-52"/>
              </a:rPr>
              <a:t>«Счета </a:t>
            </a:r>
            <a:r>
              <a:rPr lang="ru-RU" sz="1000" dirty="0" smtClean="0">
                <a:latin typeface="Cera CY" panose="00000500000000000000" pitchFamily="2" charset="-52"/>
              </a:rPr>
              <a:t>на </a:t>
            </a:r>
            <a:r>
              <a:rPr lang="ru-RU" sz="1000" dirty="0" smtClean="0">
                <a:latin typeface="Cera CY" panose="00000500000000000000" pitchFamily="2" charset="-52"/>
              </a:rPr>
              <a:t>оплату» </a:t>
            </a:r>
            <a:fld id="{873A2F9C-1052-4BE5-A191-C220D24524F1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перейдите в </a:t>
            </a:r>
            <a:r>
              <a:rPr lang="ru-RU" sz="1000" dirty="0" smtClean="0">
                <a:latin typeface="Cera CY" panose="00000500000000000000" pitchFamily="2" charset="-52"/>
              </a:rPr>
              <a:t>раздел </a:t>
            </a:r>
            <a:fld id="{E7F679F6-4BF7-49D8-951F-57C9FBF32776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«Документы».  </a:t>
            </a:r>
            <a:r>
              <a:rPr lang="ru-RU" altLang="en-US" sz="1000" dirty="0" smtClean="0">
                <a:latin typeface="Cera CY" panose="00000500000000000000" pitchFamily="2" charset="-52"/>
              </a:rPr>
              <a:t> </a:t>
            </a:r>
            <a:r>
              <a:rPr lang="ru-RU" sz="1000" dirty="0" smtClean="0">
                <a:latin typeface="Cera CY" panose="00000500000000000000" pitchFamily="2" charset="-52"/>
              </a:rPr>
              <a:t>4. Н</a:t>
            </a:r>
            <a:r>
              <a:rPr lang="ru-RU" sz="1000" dirty="0" smtClean="0">
                <a:latin typeface="Cera CY" panose="00000500000000000000" pitchFamily="2" charset="-52"/>
              </a:rPr>
              <a:t>ажмите на </a:t>
            </a:r>
            <a:fld id="{31D653C0-B293-4535-BD50-C23A72C2D0B9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счет для оплаты.</a:t>
            </a:r>
            <a:endParaRPr lang="ru-RU" sz="1000" dirty="0" smtClean="0">
              <a:latin typeface="Cera CY" panose="00000500000000000000" pitchFamily="2" charset="-52"/>
            </a:endParaRPr>
          </a:p>
        </p:txBody>
      </p:sp>
      <p:sp>
        <p:nvSpPr>
          <p:cNvPr id="17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407276" y="5472113"/>
            <a:ext cx="2168525" cy="1285875"/>
          </a:xfrm>
          <a:prstGeom prst="roundRect">
            <a:avLst>
              <a:gd name="adj" fmla="val 13951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180975" rIns="2066925" bIns="1809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Cera CY" panose="00000500000000000000" pitchFamily="2" charset="-52"/>
              </a:rPr>
              <a:t>6</a:t>
            </a:r>
            <a:r>
              <a:rPr lang="ru-RU" sz="1000" dirty="0" smtClean="0">
                <a:latin typeface="Cera CY" panose="00000500000000000000" pitchFamily="2" charset="-52"/>
              </a:rPr>
              <a:t>. В разделе «Документы» </a:t>
            </a:r>
            <a:fld id="{BF4451C3-860F-4C50-A21D-454A6C9BBE4B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находятся подписки на </a:t>
            </a:r>
            <a:fld id="{C1EF8F4C-AC3D-4948-9217-1525D5FC3747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уведомления о начислениях.      </a:t>
            </a:r>
            <a:r>
              <a:rPr lang="ru-RU" altLang="en-US" sz="1000" dirty="0" smtClean="0">
                <a:latin typeface="Cera CY" panose="00000500000000000000" pitchFamily="2" charset="-52"/>
              </a:rPr>
              <a:t> </a:t>
            </a:r>
            <a:fld id="{D0415567-31B8-4D91-8276-8D88BA01E6E7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altLang="en-US" sz="1000" dirty="0" smtClean="0">
                <a:latin typeface="Cera CY" panose="00000500000000000000" pitchFamily="2" charset="-52"/>
              </a:rPr>
              <a:t>7</a:t>
            </a:r>
            <a:r>
              <a:rPr lang="ru-RU" sz="1000" dirty="0" smtClean="0">
                <a:latin typeface="Cera CY" panose="00000500000000000000" pitchFamily="2" charset="-52"/>
              </a:rPr>
              <a:t>. </a:t>
            </a:r>
            <a:r>
              <a:rPr lang="ru-RU" sz="1000" dirty="0" smtClean="0">
                <a:latin typeface="Cera CY" panose="00000500000000000000" pitchFamily="2" charset="-52"/>
              </a:rPr>
              <a:t>В разделе </a:t>
            </a:r>
            <a:r>
              <a:rPr lang="ru-RU" sz="1000" dirty="0">
                <a:latin typeface="Cera CY" panose="00000500000000000000" pitchFamily="2" charset="-52"/>
              </a:rPr>
              <a:t>«Добавить </a:t>
            </a:r>
            <a:fld id="{5DFAF3C1-74C7-460F-93BC-90453F588462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документ</a:t>
            </a:r>
            <a:r>
              <a:rPr lang="ru-RU" sz="1000" dirty="0">
                <a:latin typeface="Cera CY" panose="00000500000000000000" pitchFamily="2" charset="-52"/>
              </a:rPr>
              <a:t>» </a:t>
            </a:r>
            <a:r>
              <a:rPr lang="ru-RU" sz="1000" dirty="0" smtClean="0">
                <a:latin typeface="Cera CY" panose="00000500000000000000" pitchFamily="2" charset="-52"/>
              </a:rPr>
              <a:t>можно </a:t>
            </a:r>
            <a:r>
              <a:rPr lang="ru-RU" sz="1000" dirty="0">
                <a:latin typeface="Cera CY" panose="00000500000000000000" pitchFamily="2" charset="-52"/>
              </a:rPr>
              <a:t>создать новые </a:t>
            </a:r>
            <a:fld id="{277893AB-0374-4460-A942-B866FB93FD6F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подписки по </a:t>
            </a:r>
            <a:r>
              <a:rPr lang="ru-RU" sz="1000" dirty="0">
                <a:latin typeface="Cera CY" panose="00000500000000000000" pitchFamily="2" charset="-52"/>
              </a:rPr>
              <a:t>своим документам</a:t>
            </a:r>
            <a:r>
              <a:rPr lang="ru-RU" sz="1000" dirty="0" smtClean="0">
                <a:latin typeface="Cera CY" panose="00000500000000000000" pitchFamily="2" charset="-52"/>
              </a:rPr>
              <a:t>.</a:t>
            </a:r>
            <a:endParaRPr lang="ru-RU" sz="1000" dirty="0">
              <a:latin typeface="Cera CY" panose="00000500000000000000" pitchFamily="2" charset="-52"/>
            </a:endParaRPr>
          </a:p>
        </p:txBody>
      </p:sp>
      <p:sp>
        <p:nvSpPr>
          <p:cNvPr id="18" name="Текст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783764" y="5472113"/>
            <a:ext cx="2149475" cy="1285875"/>
          </a:xfrm>
          <a:prstGeom prst="roundRect">
            <a:avLst>
              <a:gd name="adj" fmla="val 13951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44450" rIns="2047875" bIns="4445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 smtClean="0">
                <a:latin typeface="Cera CY" panose="00000500000000000000" pitchFamily="2" charset="-52"/>
              </a:rPr>
              <a:t>8. Ч</a:t>
            </a:r>
            <a:r>
              <a:rPr lang="ru-RU" sz="1000" dirty="0" smtClean="0">
                <a:latin typeface="Cera CY" panose="00000500000000000000" pitchFamily="2" charset="-52"/>
              </a:rPr>
              <a:t>тобы </a:t>
            </a:r>
            <a:r>
              <a:rPr lang="ru-RU" sz="1000" dirty="0">
                <a:latin typeface="Cera CY" panose="00000500000000000000" pitchFamily="2" charset="-52"/>
              </a:rPr>
              <a:t>открыть меню </a:t>
            </a:r>
            <a:r>
              <a:rPr lang="ru-RU" sz="1000" dirty="0" smtClean="0">
                <a:latin typeface="Cera CY" panose="00000500000000000000" pitchFamily="2" charset="-52"/>
              </a:rPr>
              <a:t>действий </a:t>
            </a:r>
            <a:fld id="{DD7C07AC-319B-44F6-889B-4E0D6256709C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altLang="en-US" sz="1000" dirty="0" smtClean="0">
                <a:latin typeface="Cera CY" panose="00000500000000000000" pitchFamily="2" charset="-52"/>
              </a:rPr>
              <a:t>н</a:t>
            </a:r>
            <a:r>
              <a:rPr lang="ru-RU" sz="1000" dirty="0" smtClean="0">
                <a:latin typeface="Cera CY" panose="00000500000000000000" pitchFamily="2" charset="-52"/>
              </a:rPr>
              <a:t>ажмите </a:t>
            </a:r>
            <a:r>
              <a:rPr lang="ru-RU" sz="1000" dirty="0">
                <a:latin typeface="Cera CY" panose="00000500000000000000" pitchFamily="2" charset="-52"/>
              </a:rPr>
              <a:t>на подписку и </a:t>
            </a:r>
            <a:fld id="{98CDA265-FCA9-4B1B-BBCE-EFD5E8A8D8C7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проведите по </a:t>
            </a:r>
            <a:r>
              <a:rPr lang="ru-RU" sz="1000" dirty="0">
                <a:latin typeface="Cera CY" panose="00000500000000000000" pitchFamily="2" charset="-52"/>
              </a:rPr>
              <a:t>экрану справа </a:t>
            </a:r>
            <a:fld id="{5C3C384C-F592-4A01-8441-6623B7D4436D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налево. </a:t>
            </a:r>
            <a:r>
              <a:rPr lang="ru-RU" sz="1000" dirty="0" smtClean="0">
                <a:latin typeface="Cera CY" panose="00000500000000000000" pitchFamily="2" charset="-52"/>
              </a:rPr>
              <a:t>В </a:t>
            </a:r>
            <a:r>
              <a:rPr lang="ru-RU" sz="1000" dirty="0" smtClean="0">
                <a:latin typeface="Cera CY" panose="00000500000000000000" pitchFamily="2" charset="-52"/>
              </a:rPr>
              <a:t>режиме </a:t>
            </a:r>
            <a:fld id="{05B7F84A-D08E-4D37-9590-80ACB809B753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редактирования </a:t>
            </a:r>
            <a:r>
              <a:rPr lang="ru-RU" sz="1000" dirty="0" smtClean="0">
                <a:latin typeface="Cera CY" panose="00000500000000000000" pitchFamily="2" charset="-52"/>
              </a:rPr>
              <a:t>можно </a:t>
            </a:r>
            <a:fld id="{E92F56B0-2705-4344-92DD-196EE107662B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изменить название или удалить </a:t>
            </a:r>
            <a:fld id="{C631D144-3257-49B9-AFB8-CDB4A179A2C1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подписку на уведомление </a:t>
            </a:r>
            <a:r>
              <a:rPr lang="ru-RU" sz="1000" dirty="0" smtClean="0">
                <a:latin typeface="Cera CY" panose="00000500000000000000" pitchFamily="2" charset="-52"/>
              </a:rPr>
              <a:t>о </a:t>
            </a:r>
            <a:fld id="{0FBCA89D-05F1-452F-BF93-950427FBDBBE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начислениях.</a:t>
            </a:r>
            <a:endParaRPr lang="ru-RU" sz="1000" dirty="0">
              <a:latin typeface="Cera CY" panose="00000500000000000000" pitchFamily="2" charset="-52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765176" y="4713321"/>
            <a:ext cx="556418" cy="298450"/>
          </a:xfrm>
          <a:prstGeom prst="roundRect">
            <a:avLst/>
          </a:prstGeom>
          <a:noFill/>
          <a:ln w="25400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97669" y="1752634"/>
            <a:ext cx="1785937" cy="371475"/>
          </a:xfrm>
          <a:prstGeom prst="roundRect">
            <a:avLst/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Соединительная линия уступом 21"/>
          <p:cNvCxnSpPr>
            <a:stCxn id="20" idx="1"/>
            <a:endCxn id="19" idx="0"/>
          </p:cNvCxnSpPr>
          <p:nvPr/>
        </p:nvCxnSpPr>
        <p:spPr>
          <a:xfrm rot="10800000" flipH="1" flipV="1">
            <a:off x="397669" y="1938371"/>
            <a:ext cx="645716" cy="2774949"/>
          </a:xfrm>
          <a:prstGeom prst="bentConnector4">
            <a:avLst>
              <a:gd name="adj1" fmla="val -35403"/>
              <a:gd name="adj2" fmla="val 95910"/>
            </a:avLst>
          </a:prstGeom>
          <a:ln w="25400" cap="rnd" cmpd="sng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Соединительная линия уступом 49"/>
          <p:cNvCxnSpPr>
            <a:stCxn id="19" idx="2"/>
            <a:endCxn id="15" idx="1"/>
          </p:cNvCxnSpPr>
          <p:nvPr/>
        </p:nvCxnSpPr>
        <p:spPr>
          <a:xfrm rot="5400000">
            <a:off x="73241" y="5144907"/>
            <a:ext cx="1103280" cy="837009"/>
          </a:xfrm>
          <a:prstGeom prst="bentConnector4">
            <a:avLst>
              <a:gd name="adj1" fmla="val 29927"/>
              <a:gd name="adj2" fmla="val 110242"/>
            </a:avLst>
          </a:prstGeom>
          <a:ln w="25400" cap="rnd" cmpd="sng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Скругленный прямоугольник 115"/>
          <p:cNvSpPr/>
          <p:nvPr/>
        </p:nvSpPr>
        <p:spPr>
          <a:xfrm>
            <a:off x="2811464" y="1885984"/>
            <a:ext cx="1778000" cy="328612"/>
          </a:xfrm>
          <a:prstGeom prst="roundRect">
            <a:avLst/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1" name="Соединительная линия уступом 120"/>
          <p:cNvCxnSpPr>
            <a:stCxn id="116" idx="1"/>
            <a:endCxn id="16" idx="1"/>
          </p:cNvCxnSpPr>
          <p:nvPr/>
        </p:nvCxnSpPr>
        <p:spPr>
          <a:xfrm rot="10800000" flipV="1">
            <a:off x="2616202" y="2050289"/>
            <a:ext cx="195263" cy="4064761"/>
          </a:xfrm>
          <a:prstGeom prst="bentConnector3">
            <a:avLst>
              <a:gd name="adj1" fmla="val 152032"/>
            </a:avLst>
          </a:prstGeom>
          <a:ln w="25400" cap="rnd" cmpd="sng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Скругленный прямоугольник 127"/>
          <p:cNvSpPr/>
          <p:nvPr/>
        </p:nvSpPr>
        <p:spPr>
          <a:xfrm>
            <a:off x="2811464" y="2252696"/>
            <a:ext cx="1778000" cy="686679"/>
          </a:xfrm>
          <a:prstGeom prst="roundRect">
            <a:avLst/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0" name="Прямая соединительная линия 129"/>
          <p:cNvCxnSpPr/>
          <p:nvPr/>
        </p:nvCxnSpPr>
        <p:spPr>
          <a:xfrm flipH="1">
            <a:off x="2519363" y="2596034"/>
            <a:ext cx="263930" cy="1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Скругленный прямоугольник 143"/>
          <p:cNvSpPr/>
          <p:nvPr/>
        </p:nvSpPr>
        <p:spPr>
          <a:xfrm>
            <a:off x="7600951" y="2355091"/>
            <a:ext cx="1809750" cy="366712"/>
          </a:xfrm>
          <a:prstGeom prst="roundRect">
            <a:avLst/>
          </a:prstGeom>
          <a:noFill/>
          <a:ln w="25400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6" name="Скругленный прямоугольник 185"/>
          <p:cNvSpPr/>
          <p:nvPr/>
        </p:nvSpPr>
        <p:spPr>
          <a:xfrm>
            <a:off x="9944102" y="2355091"/>
            <a:ext cx="1809750" cy="366712"/>
          </a:xfrm>
          <a:prstGeom prst="roundRect">
            <a:avLst/>
          </a:prstGeom>
          <a:noFill/>
          <a:ln w="25400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8" name="TextBox 187"/>
          <p:cNvSpPr txBox="1"/>
          <p:nvPr/>
        </p:nvSpPr>
        <p:spPr>
          <a:xfrm>
            <a:off x="371474" y="190989"/>
            <a:ext cx="8521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Управление подписками и счетами на оплату </a:t>
            </a:r>
            <a:r>
              <a:rPr lang="ru-RU" sz="1400" dirty="0" smtClean="0">
                <a:solidFill>
                  <a:schemeClr val="bg1"/>
                </a:solidFill>
                <a:latin typeface="Cera CY" panose="00000500000000000000" pitchFamily="2" charset="-52"/>
              </a:rPr>
              <a:t>в мобильном приложении Газпромбанка</a:t>
            </a:r>
            <a:endParaRPr lang="ru-RU" sz="1400" dirty="0">
              <a:solidFill>
                <a:schemeClr val="bg1"/>
              </a:solidFill>
              <a:latin typeface="Cera CY" panose="00000500000000000000" pitchFamily="2" charset="-52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264" y="971496"/>
            <a:ext cx="2168525" cy="4324386"/>
          </a:xfrm>
          <a:prstGeom prst="rect">
            <a:avLst/>
          </a:prstGeom>
        </p:spPr>
      </p:pic>
      <p:sp>
        <p:nvSpPr>
          <p:cNvPr id="66" name="Текст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21264" y="5472113"/>
            <a:ext cx="2168525" cy="1285875"/>
          </a:xfrm>
          <a:prstGeom prst="roundRect">
            <a:avLst>
              <a:gd name="adj" fmla="val 13951"/>
            </a:avLst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249238" rIns="2066925" bIns="249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latin typeface="Cera CY" panose="00000500000000000000" pitchFamily="2" charset="-52"/>
              </a:rPr>
              <a:t>5</a:t>
            </a:r>
            <a:r>
              <a:rPr lang="ru-RU" sz="1000" dirty="0" smtClean="0">
                <a:latin typeface="Cera CY" panose="00000500000000000000" pitchFamily="2" charset="-52"/>
              </a:rPr>
              <a:t>.</a:t>
            </a:r>
            <a:r>
              <a:rPr lang="ru-RU" sz="1000" dirty="0">
                <a:latin typeface="Cera CY" panose="00000500000000000000" pitchFamily="2" charset="-52"/>
              </a:rPr>
              <a:t> </a:t>
            </a:r>
            <a:r>
              <a:rPr lang="ru-RU" sz="1000" dirty="0" smtClean="0">
                <a:latin typeface="Cera CY" panose="00000500000000000000" pitchFamily="2" charset="-52"/>
              </a:rPr>
              <a:t>Для удаления счета нажмите </a:t>
            </a:r>
            <a:fld id="{E24E9CE4-97D0-42B1-9B66-0FCB7DA5A54C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на него и проведите по экрану </a:t>
            </a:r>
            <a:fld id="{30D869EA-E38D-4864-A7F0-8F448F39D4BD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справа налево. Удаление счета </a:t>
            </a:r>
            <a:fld id="{AA07FA96-9ACD-4036-A4D6-6BE0173A54E0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на оплату не удаляет подписку на </a:t>
            </a:r>
            <a:fld id="{2DA0CAA7-E593-4563-B193-7771B734F65D}" type="datetime' '">
              <a:rPr lang="ru-RU" altLang="en-US" sz="1000" smtClean="0">
                <a:latin typeface="Cera CY" panose="00000500000000000000" pitchFamily="2" charset="-52"/>
              </a:rPr>
              <a:pPr/>
              <a:t> </a:t>
            </a:fld>
            <a:r>
              <a:rPr lang="ru-RU" altLang="en-US" sz="1000" dirty="0" smtClean="0">
                <a:latin typeface="Cera CY" panose="00000500000000000000" pitchFamily="2" charset="-52"/>
              </a:rPr>
              <a:t/>
            </a:r>
            <a:br>
              <a:rPr lang="ru-RU" altLang="en-US" sz="1000" dirty="0" smtClean="0">
                <a:latin typeface="Cera CY" panose="00000500000000000000" pitchFamily="2" charset="-52"/>
              </a:rPr>
            </a:br>
            <a:r>
              <a:rPr lang="ru-RU" sz="1000" dirty="0" smtClean="0">
                <a:latin typeface="Cera CY" panose="00000500000000000000" pitchFamily="2" charset="-52"/>
              </a:rPr>
              <a:t>уведомление о начислениях.</a:t>
            </a:r>
            <a:endParaRPr lang="ru-RU" sz="1000" dirty="0">
              <a:latin typeface="Cera CY" panose="00000500000000000000" pitchFamily="2" charset="-52"/>
            </a:endParaRPr>
          </a:p>
        </p:txBody>
      </p:sp>
      <p:sp>
        <p:nvSpPr>
          <p:cNvPr id="99" name="Скругленный прямоугольник 98"/>
          <p:cNvSpPr/>
          <p:nvPr/>
        </p:nvSpPr>
        <p:spPr>
          <a:xfrm>
            <a:off x="5205414" y="2252696"/>
            <a:ext cx="1778000" cy="686679"/>
          </a:xfrm>
          <a:prstGeom prst="roundRect">
            <a:avLst/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0" name="Соединительная линия уступом 99"/>
          <p:cNvCxnSpPr>
            <a:stCxn id="99" idx="1"/>
            <a:endCxn id="66" idx="1"/>
          </p:cNvCxnSpPr>
          <p:nvPr/>
        </p:nvCxnSpPr>
        <p:spPr>
          <a:xfrm rot="10800000" flipV="1">
            <a:off x="5021264" y="2596035"/>
            <a:ext cx="184150" cy="3519015"/>
          </a:xfrm>
          <a:prstGeom prst="bentConnector3">
            <a:avLst>
              <a:gd name="adj1" fmla="val 151912"/>
            </a:avLst>
          </a:prstGeom>
          <a:ln w="25400" cap="rnd" cmpd="sng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1" name="Рисунок 16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276" y="971496"/>
            <a:ext cx="2168525" cy="4324388"/>
          </a:xfrm>
          <a:prstGeom prst="rect">
            <a:avLst/>
          </a:prstGeom>
        </p:spPr>
      </p:pic>
      <p:sp>
        <p:nvSpPr>
          <p:cNvPr id="167" name="Скругленный прямоугольник 166"/>
          <p:cNvSpPr/>
          <p:nvPr/>
        </p:nvSpPr>
        <p:spPr>
          <a:xfrm>
            <a:off x="7596189" y="2050289"/>
            <a:ext cx="1778000" cy="1545432"/>
          </a:xfrm>
          <a:prstGeom prst="roundRect">
            <a:avLst>
              <a:gd name="adj" fmla="val 5265"/>
            </a:avLst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0" name="Рисунок 16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4714" y="971496"/>
            <a:ext cx="2168525" cy="4324388"/>
          </a:xfrm>
          <a:prstGeom prst="rect">
            <a:avLst/>
          </a:prstGeom>
        </p:spPr>
      </p:pic>
      <p:sp>
        <p:nvSpPr>
          <p:cNvPr id="174" name="Скругленный прямоугольник 173"/>
          <p:cNvSpPr/>
          <p:nvPr/>
        </p:nvSpPr>
        <p:spPr>
          <a:xfrm>
            <a:off x="9958389" y="2781730"/>
            <a:ext cx="1778000" cy="364330"/>
          </a:xfrm>
          <a:prstGeom prst="roundRect">
            <a:avLst/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Скругленный прямоугольник 172"/>
          <p:cNvSpPr/>
          <p:nvPr/>
        </p:nvSpPr>
        <p:spPr>
          <a:xfrm>
            <a:off x="11125200" y="2855152"/>
            <a:ext cx="482603" cy="226219"/>
          </a:xfrm>
          <a:prstGeom prst="roundRect">
            <a:avLst/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5" name="Соединительная линия уступом 144"/>
          <p:cNvCxnSpPr>
            <a:stCxn id="167" idx="1"/>
            <a:endCxn id="17" idx="1"/>
          </p:cNvCxnSpPr>
          <p:nvPr/>
        </p:nvCxnSpPr>
        <p:spPr>
          <a:xfrm rot="10800000" flipV="1">
            <a:off x="7407277" y="2823005"/>
            <a:ext cx="188913" cy="3292046"/>
          </a:xfrm>
          <a:prstGeom prst="bentConnector3">
            <a:avLst>
              <a:gd name="adj1" fmla="val 159404"/>
            </a:avLst>
          </a:prstGeom>
          <a:ln w="25400" cap="rnd" cmpd="sng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Соединительная линия уступом 186"/>
          <p:cNvCxnSpPr>
            <a:stCxn id="174" idx="1"/>
            <a:endCxn id="18" idx="1"/>
          </p:cNvCxnSpPr>
          <p:nvPr/>
        </p:nvCxnSpPr>
        <p:spPr>
          <a:xfrm rot="10800000" flipV="1">
            <a:off x="9783765" y="2963895"/>
            <a:ext cx="174625" cy="3151156"/>
          </a:xfrm>
          <a:prstGeom prst="bentConnector3">
            <a:avLst>
              <a:gd name="adj1" fmla="val 154744"/>
            </a:avLst>
          </a:prstGeom>
          <a:ln w="25400" cap="rnd" cmpd="sng">
            <a:solidFill>
              <a:schemeClr val="accent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Скругленный прямоугольник 337"/>
          <p:cNvSpPr/>
          <p:nvPr/>
        </p:nvSpPr>
        <p:spPr>
          <a:xfrm>
            <a:off x="7616826" y="4614986"/>
            <a:ext cx="1757363" cy="309439"/>
          </a:xfrm>
          <a:prstGeom prst="roundRect">
            <a:avLst/>
          </a:prstGeom>
          <a:noFill/>
          <a:ln w="25400" cap="rnd">
            <a:solidFill>
              <a:schemeClr val="accent2"/>
            </a:solidFill>
            <a:prstDash val="sysDot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06" name="Прямая соединительная линия 405"/>
          <p:cNvCxnSpPr>
            <a:stCxn id="338" idx="1"/>
          </p:cNvCxnSpPr>
          <p:nvPr/>
        </p:nvCxnSpPr>
        <p:spPr>
          <a:xfrm flipH="1" flipV="1">
            <a:off x="7300913" y="4769705"/>
            <a:ext cx="315913" cy="1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" name="Овал 408"/>
          <p:cNvSpPr/>
          <p:nvPr/>
        </p:nvSpPr>
        <p:spPr>
          <a:xfrm>
            <a:off x="1078758" y="4762831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1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  <p:sp>
        <p:nvSpPr>
          <p:cNvPr id="418" name="Овал 417"/>
          <p:cNvSpPr/>
          <p:nvPr/>
        </p:nvSpPr>
        <p:spPr>
          <a:xfrm>
            <a:off x="1392340" y="1838656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2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  <p:sp>
        <p:nvSpPr>
          <p:cNvPr id="423" name="Овал 422"/>
          <p:cNvSpPr/>
          <p:nvPr/>
        </p:nvSpPr>
        <p:spPr>
          <a:xfrm>
            <a:off x="4077295" y="1959637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3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  <p:sp>
        <p:nvSpPr>
          <p:cNvPr id="424" name="Овал 423"/>
          <p:cNvSpPr/>
          <p:nvPr/>
        </p:nvSpPr>
        <p:spPr>
          <a:xfrm>
            <a:off x="4077295" y="2441151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4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  <p:sp>
        <p:nvSpPr>
          <p:cNvPr id="425" name="Овал 424"/>
          <p:cNvSpPr/>
          <p:nvPr/>
        </p:nvSpPr>
        <p:spPr>
          <a:xfrm>
            <a:off x="5994699" y="2441151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5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  <p:sp>
        <p:nvSpPr>
          <p:cNvPr id="426" name="Овал 425"/>
          <p:cNvSpPr/>
          <p:nvPr/>
        </p:nvSpPr>
        <p:spPr>
          <a:xfrm>
            <a:off x="8993488" y="2135693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6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  <p:sp>
        <p:nvSpPr>
          <p:cNvPr id="441" name="Овал 440"/>
          <p:cNvSpPr/>
          <p:nvPr/>
        </p:nvSpPr>
        <p:spPr>
          <a:xfrm>
            <a:off x="8993488" y="4682484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7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  <p:sp>
        <p:nvSpPr>
          <p:cNvPr id="442" name="Овал 441"/>
          <p:cNvSpPr/>
          <p:nvPr/>
        </p:nvSpPr>
        <p:spPr>
          <a:xfrm>
            <a:off x="10887376" y="2881941"/>
            <a:ext cx="199430" cy="199430"/>
          </a:xfrm>
          <a:prstGeom prst="ellipse">
            <a:avLst/>
          </a:prstGeom>
          <a:solidFill>
            <a:schemeClr val="accent2"/>
          </a:solidFill>
          <a:ln w="254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era CY" panose="00000500000000000000" pitchFamily="2" charset="-52"/>
              </a:rPr>
              <a:t>8</a:t>
            </a:r>
            <a:endParaRPr lang="ru-RU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814666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n1tZyxKb8gJv8bkZxi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kQW9OyvryXnrQlT8cV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SCtXZeMumC8vCLxfgq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OG6iFk3XTaLZ41mGX9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1.ysPGkVcXgv4in6eu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2</TotalTime>
  <Words>175</Words>
  <Application>Microsoft Office PowerPoint</Application>
  <PresentationFormat>Широкоэкранный</PresentationFormat>
  <Paragraphs>15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era CY</vt:lpstr>
      <vt:lpstr>Тема Office</vt:lpstr>
      <vt:lpstr>Слайд think-cell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сильев Виктор Сергеевич</dc:creator>
  <cp:lastModifiedBy>Васильев Виктор Сергеевич</cp:lastModifiedBy>
  <cp:revision>35</cp:revision>
  <dcterms:created xsi:type="dcterms:W3CDTF">2023-11-30T07:13:42Z</dcterms:created>
  <dcterms:modified xsi:type="dcterms:W3CDTF">2023-12-04T05:58:34Z</dcterms:modified>
</cp:coreProperties>
</file>